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4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C63254-3ED3-7F4A-55ED-77911D6BF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41496102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9BA62-C5DD-1C6F-03AD-FA11AEE3F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1D3D30B-7BD1-3088-FDFA-E9CDC9E15E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D3D30B-7BD1-3088-FDFA-E9CDC9E15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A5C9699-8EE5-9E50-276D-51114B6FF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8BC1B8B-DE80-D1F0-BD5B-DF48B0D34F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raphic Slides</a:t>
            </a:r>
          </a:p>
        </p:txBody>
      </p:sp>
    </p:spTree>
    <p:extLst>
      <p:ext uri="{BB962C8B-B14F-4D97-AF65-F5344CB8AC3E}">
        <p14:creationId xmlns:p14="http://schemas.microsoft.com/office/powerpoint/2010/main" val="158452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0</TotalTime>
  <Words>3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01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27</cp:revision>
  <dcterms:created xsi:type="dcterms:W3CDTF">2021-03-31T02:49:57Z</dcterms:created>
  <dcterms:modified xsi:type="dcterms:W3CDTF">2025-10-15T08:23:26Z</dcterms:modified>
  <cp:category/>
</cp:coreProperties>
</file>